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slideMasters/slideMaster6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Masters/slideMaster2.xml" ContentType="application/vnd.openxmlformats-officedocument.presentationml.slideMaster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Masters/slideMaster5.xml" ContentType="application/vnd.openxmlformats-officedocument.presentationml.slide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9"/>
  </p:notesMasterIdLst>
  <p:sldIdLst>
    <p:sldId id="656" r:id="rId7"/>
    <p:sldId id="664" r:id="rId8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7908" autoAdjust="0"/>
    <p:restoredTop sz="94010" autoAdjust="0"/>
  </p:normalViewPr>
  <p:slideViewPr>
    <p:cSldViewPr>
      <p:cViewPr varScale="1">
        <p:scale>
          <a:sx n="86" d="100"/>
          <a:sy n="86" d="100"/>
        </p:scale>
        <p:origin x="-540" y="-78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06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5.png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emf"/><Relationship Id="rId5" Type="http://schemas.openxmlformats.org/officeDocument/2006/relationships/image" Target="../media/image16.jpeg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="" xmlns:p14="http://schemas.microsoft.com/office/powerpoint/2010/main" val="375296957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00898054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9684373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8272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4836573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9296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442651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10320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471672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9769225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2366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23699496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13390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570518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4414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5540644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435712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7965680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22601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F4E35F00-3D22-4AE3-9BC8-DCEB0707C4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="" xmlns:a16="http://schemas.microsoft.com/office/drawing/2014/main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337520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="" xmlns:a16="http://schemas.microsoft.com/office/drawing/2014/main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0372258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3625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9003856E-8774-4B5D-A5D0-A2CE1C04D1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1389006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4649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B0DB22AB-69EB-4A23-8BA7-3B16DB152F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="" xmlns:a16="http://schemas.microsoft.com/office/drawing/2014/main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5967590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="" xmlns:a16="http://schemas.microsoft.com/office/drawing/2014/main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="" xmlns:a16="http://schemas.microsoft.com/office/drawing/2014/main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0186317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3423604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="" xmlns:a16="http://schemas.microsoft.com/office/drawing/2014/main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6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=""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08577642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=""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=""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9803299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=""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=""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="" xmlns:a16="http://schemas.microsoft.com/office/drawing/2014/main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6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=""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463130851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4184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400738514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5208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5824907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6232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oleObject" Target="../embeddings/oleObject13.bin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160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7248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11342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21577" name="think-cell Slide" r:id="rId36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52" r:id="rId13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ШКОЛА ФЕРМЕ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/>
          <a:srcRect l="35790" t="7532" r="35837" b="54340"/>
          <a:stretch/>
        </p:blipFill>
        <p:spPr>
          <a:xfrm>
            <a:off x="9129464" y="11663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="" xmlns:p14="http://schemas.microsoft.com/office/powerpoint/2010/main" val="261443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«Школа фермера» в Ростовской 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="" xmlns:p14="http://schemas.microsoft.com/office/powerpoint/2010/main" val="7880720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4</TotalTime>
  <Words>135</Words>
  <Application>Microsoft Office PowerPoint</Application>
  <PresentationFormat>Лист A4 (210x297 мм)</PresentationFormat>
  <Paragraphs>28</Paragraphs>
  <Slides>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Слайд 1</vt:lpstr>
      <vt:lpstr> 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San</cp:lastModifiedBy>
  <cp:revision>879</cp:revision>
  <cp:lastPrinted>2021-04-12T13:43:07Z</cp:lastPrinted>
  <dcterms:created xsi:type="dcterms:W3CDTF">2019-11-26T12:29:04Z</dcterms:created>
  <dcterms:modified xsi:type="dcterms:W3CDTF">2021-07-06T06:25:26Z</dcterms:modified>
</cp:coreProperties>
</file>